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96" r:id="rId2"/>
    <p:sldId id="258" r:id="rId3"/>
    <p:sldId id="465" r:id="rId4"/>
    <p:sldId id="466" r:id="rId5"/>
    <p:sldId id="467" r:id="rId6"/>
    <p:sldId id="468" r:id="rId7"/>
    <p:sldId id="470" r:id="rId8"/>
    <p:sldId id="469" r:id="rId9"/>
    <p:sldId id="271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4" orient="horz" pos="2948" userDrawn="1">
          <p15:clr>
            <a:srgbClr val="A4A3A4"/>
          </p15:clr>
        </p15:guide>
        <p15:guide id="5" orient="horz" pos="725" userDrawn="1">
          <p15:clr>
            <a:srgbClr val="A4A3A4"/>
          </p15:clr>
        </p15:guide>
        <p15:guide id="6" orient="horz" pos="242" userDrawn="1">
          <p15:clr>
            <a:srgbClr val="A4A3A4"/>
          </p15:clr>
        </p15:guide>
        <p15:guide id="7" pos="2832" userDrawn="1">
          <p15:clr>
            <a:srgbClr val="A4A3A4"/>
          </p15:clr>
        </p15:guide>
        <p15:guide id="8" pos="2933" userDrawn="1">
          <p15:clr>
            <a:srgbClr val="A4A3A4"/>
          </p15:clr>
        </p15:guide>
        <p15:guide id="9" pos="3737" userDrawn="1">
          <p15:clr>
            <a:srgbClr val="A4A3A4"/>
          </p15:clr>
        </p15:guide>
        <p15:guide id="10" pos="3843" userDrawn="1">
          <p15:clr>
            <a:srgbClr val="A4A3A4"/>
          </p15:clr>
        </p15:guide>
        <p15:guide id="11" pos="2023" userDrawn="1">
          <p15:clr>
            <a:srgbClr val="A4A3A4"/>
          </p15:clr>
        </p15:guide>
        <p15:guide id="12" pos="19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E6F0"/>
    <a:srgbClr val="D40511"/>
    <a:srgbClr val="D30010"/>
    <a:srgbClr val="D403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64" autoAdjust="0"/>
    <p:restoredTop sz="94660"/>
  </p:normalViewPr>
  <p:slideViewPr>
    <p:cSldViewPr snapToGrid="0" showGuides="1">
      <p:cViewPr>
        <p:scale>
          <a:sx n="150" d="100"/>
          <a:sy n="150" d="100"/>
        </p:scale>
        <p:origin x="630" y="114"/>
      </p:cViewPr>
      <p:guideLst>
        <p:guide pos="204"/>
        <p:guide pos="5556"/>
        <p:guide orient="horz" pos="2948"/>
        <p:guide orient="horz" pos="725"/>
        <p:guide orient="horz" pos="242"/>
        <p:guide pos="2832"/>
        <p:guide pos="2933"/>
        <p:guide pos="3737"/>
        <p:guide pos="3843"/>
        <p:guide pos="2023"/>
        <p:guide pos="19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00"/>
    </p:cViewPr>
  </p:sorterViewPr>
  <p:notesViewPr>
    <p:cSldViewPr snapToGrid="0" showGuides="1">
      <p:cViewPr varScale="1">
        <p:scale>
          <a:sx n="93" d="100"/>
          <a:sy n="93" d="100"/>
        </p:scale>
        <p:origin x="370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87746F6-78F1-2694-5097-B83DA7899B7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565A5-5C86-512F-4EA3-73A4038056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1E8D24-EC9D-4558-B55A-419B76678A24}" type="datetimeFigureOut">
              <a:rPr lang="de-DE" smtClean="0"/>
              <a:t>19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F964773-E5DC-F214-CF46-9C645BCDCE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E2F0080-B1D6-9D17-ED37-87FD7BFE81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1C64BA-A827-4876-A7B3-35C6EC1ABA0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761808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19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Clr>
        <a:schemeClr val="accent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Clr>
        <a:schemeClr val="accent4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Clr>
        <a:schemeClr val="accent4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Font typeface="Arial" panose="020B0604020202020204" pitchFamily="34" charset="0"/>
      <a:buNone/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685800" rtl="0" eaLnBrk="1" latinLnBrk="0" hangingPunct="1">
      <a:lnSpc>
        <a:spcPct val="110000"/>
      </a:lnSpc>
      <a:spcBef>
        <a:spcPts val="0"/>
      </a:spcBef>
      <a:spcAft>
        <a:spcPts val="0"/>
      </a:spcAft>
      <a:buFont typeface="+mj-lt"/>
      <a:buNone/>
      <a:defRPr sz="1200" b="1" kern="1200">
        <a:solidFill>
          <a:schemeClr val="tx1"/>
        </a:solidFill>
        <a:latin typeface="+mn-lt"/>
        <a:ea typeface="+mn-ea"/>
        <a:cs typeface="+mn-cs"/>
      </a:defRPr>
    </a:lvl6pPr>
    <a:lvl7pPr marL="180000" indent="-180000" algn="l" defTabSz="685800" rtl="0" eaLnBrk="1" latinLnBrk="0" hangingPunct="1">
      <a:lnSpc>
        <a:spcPct val="110000"/>
      </a:lnSpc>
      <a:spcBef>
        <a:spcPts val="0"/>
      </a:spcBef>
      <a:spcAft>
        <a:spcPts val="500"/>
      </a:spcAft>
      <a:buClr>
        <a:schemeClr val="accent4"/>
      </a:buClr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2571750" indent="-171450" algn="l" defTabSz="685800" rtl="0" eaLnBrk="1" latinLnBrk="0" hangingPunct="1">
      <a:lnSpc>
        <a:spcPct val="90000"/>
      </a:lnSpc>
      <a:spcBef>
        <a:spcPts val="375"/>
      </a:spcBef>
      <a:buFont typeface="Arial" panose="020B0604020202020204" pitchFamily="34" charset="0"/>
      <a:buChar char="•"/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914650" indent="-171450" algn="l" defTabSz="685800" rtl="0" eaLnBrk="1" latinLnBrk="0" hangingPunct="1">
      <a:lnSpc>
        <a:spcPct val="90000"/>
      </a:lnSpc>
      <a:spcBef>
        <a:spcPts val="375"/>
      </a:spcBef>
      <a:buFont typeface="Arial" panose="020B0604020202020204" pitchFamily="34" charset="0"/>
      <a:buChar char="•"/>
      <a:defRPr sz="135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79000">
              <a:srgbClr val="FFDE59"/>
            </a:gs>
            <a:gs pos="30000">
              <a:schemeClr val="accent3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488B340-E554-4794-A214-722515232D4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19237" y="4460515"/>
            <a:ext cx="1465200" cy="3888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0795CF1-C64E-4F72-B36F-DDAB3E8F25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76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1054BF6-C331-4C2D-949B-82F03B585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0418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81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3396788-6EB1-4525-8ED0-B4C10E9CB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4422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prstGeom prst="rect">
            <a:avLst/>
          </a:prstGeo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7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EF99C30-52BB-420E-9163-10536748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7640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D20E0-3CDD-4F89-AEC5-C445171BED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460400"/>
            <a:ext cx="1466194" cy="3888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1" y="519115"/>
            <a:ext cx="4802153" cy="4467147"/>
          </a:xfrm>
          <a:prstGeom prst="rect">
            <a:avLst/>
          </a:prstGeo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0A8D55-FD64-41A1-872B-557C443E83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460400"/>
            <a:ext cx="1466194" cy="3888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178A8D6-749B-4493-89EF-9E48AA1E96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0" y="4291257"/>
            <a:ext cx="8658148" cy="695005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B3BC09E-512B-4D87-AA2B-25F9CC60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460400"/>
            <a:ext cx="1466194" cy="3888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prstGeom prst="rect">
            <a:avLst/>
          </a:prstGeo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0" y="4291257"/>
            <a:ext cx="8658148" cy="695005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7DE68E4-9937-471B-B822-5E6C006D61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460400"/>
            <a:ext cx="1466194" cy="388800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On one OR TWO lines, Delivery CONDENSED LIGHT, 18 pt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  <a:prstGeom prst="rect">
            <a:avLst/>
          </a:prstGeo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  <a:prstGeom prst="rect">
            <a:avLst/>
          </a:prstGeo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6F41A71-36A4-406E-A6B5-F05E0BAEC643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90410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59" imgH="360" progId="TCLayout.ActiveDocument.1">
                  <p:embed/>
                </p:oleObj>
              </mc:Choice>
              <mc:Fallback>
                <p:oleObj name="think-cell Folie" r:id="rId2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Group | Presentation title | Location | xx Month 20xx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9E6E2BE-5129-498F-887C-F1EC5EFAD1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850" y="1150938"/>
            <a:ext cx="8496300" cy="3530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ody </a:t>
            </a:r>
            <a:r>
              <a:rPr lang="de-DE" dirty="0" err="1"/>
              <a:t>text</a:t>
            </a:r>
            <a:r>
              <a:rPr lang="de-DE" dirty="0"/>
              <a:t> in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Bullet </a:t>
            </a:r>
            <a:r>
              <a:rPr lang="de-DE" dirty="0" err="1"/>
              <a:t>text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</a:t>
            </a:r>
          </a:p>
          <a:p>
            <a:pPr lvl="4"/>
            <a:r>
              <a:rPr lang="de-DE" dirty="0"/>
              <a:t>Action title, </a:t>
            </a:r>
            <a:r>
              <a:rPr lang="de-DE" dirty="0" err="1"/>
              <a:t>Delivery</a:t>
            </a:r>
            <a:r>
              <a:rPr lang="de-DE" dirty="0"/>
              <a:t> Regular, 15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Paragraph Headline, </a:t>
            </a:r>
            <a:r>
              <a:rPr lang="de-DE" dirty="0" err="1"/>
              <a:t>DeliveryBold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Bullet </a:t>
            </a:r>
            <a:r>
              <a:rPr lang="de-DE" dirty="0" err="1"/>
              <a:t>number</a:t>
            </a:r>
            <a:r>
              <a:rPr lang="de-DE" dirty="0"/>
              <a:t>, </a:t>
            </a:r>
            <a:r>
              <a:rPr lang="de-DE" dirty="0" err="1"/>
              <a:t>Delivery</a:t>
            </a:r>
            <a:r>
              <a:rPr lang="de-DE" dirty="0"/>
              <a:t>, 12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11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E8973CEA-F174-466C-96C7-8FCF2E7FF08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" r="14"/>
          <a:stretch/>
        </p:blipFill>
        <p:spPr/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17F1E17-1479-4760-8AC2-38879B47DF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ACD3E73-4B63-408F-81E5-D7581A2E79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BAB25DF-3A1C-4FD4-8666-EEFB5DDBE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4001" y="2740802"/>
            <a:ext cx="4861954" cy="503215"/>
          </a:xfrm>
        </p:spPr>
        <p:txBody>
          <a:bodyPr/>
          <a:lstStyle/>
          <a:p>
            <a:r>
              <a:rPr lang="en-GB" dirty="0"/>
              <a:t>Exploring Strategies and Outcom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C77E0C-F69A-404F-A4D7-F4E1A40E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1" y="1241929"/>
            <a:ext cx="6031080" cy="1498873"/>
          </a:xfrm>
        </p:spPr>
        <p:txBody>
          <a:bodyPr/>
          <a:lstStyle/>
          <a:p>
            <a:r>
              <a:rPr lang="en-US" dirty="0"/>
              <a:t>Probability Game Analysis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4CC95D-81BD-496E-838E-C31ED70BC6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By – Yahya Adhikari</a:t>
            </a:r>
            <a:br>
              <a:rPr lang="en-GB" dirty="0"/>
            </a:br>
            <a:r>
              <a:rPr lang="en-GB" dirty="0"/>
              <a:t>19 November 2024</a:t>
            </a:r>
          </a:p>
        </p:txBody>
      </p:sp>
    </p:spTree>
    <p:extLst>
      <p:ext uri="{BB962C8B-B14F-4D97-AF65-F5344CB8AC3E}">
        <p14:creationId xmlns:p14="http://schemas.microsoft.com/office/powerpoint/2010/main" val="33578096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ADDB2-2047-47C9-9C76-D85D8512E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Ball Drawing Game: Strategy and Probabil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72F9AA-3C33-4A09-A010-583208DDD9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F03C6A-7A2D-4919-9480-6E85898C66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CBF12F-87D6-4BAC-B992-9A13D4DAAF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999" y="1455737"/>
            <a:ext cx="5327501" cy="565749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Analyzing</a:t>
            </a:r>
            <a:r>
              <a:rPr lang="en-GB" dirty="0"/>
              <a:t> Optimal Decisions and Long-Term Outcomes The Ball Drawing Game: Strategy and Probability </a:t>
            </a:r>
            <a:r>
              <a:rPr lang="en-GB" dirty="0" err="1"/>
              <a:t>Analyzing</a:t>
            </a:r>
            <a:r>
              <a:rPr lang="en-GB" dirty="0"/>
              <a:t> Optimal Decisions and Long-Term Outcom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1C9434-EE07-553C-E88C-0F929AB168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9051" y="0"/>
            <a:ext cx="344494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59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189A8-BA3F-7E3E-8EE8-00DEAF8F22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157182-3A3C-D754-3378-E0BBDC5132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5AAD23-692F-3578-295D-67CA805C70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5561FE-13A9-92E0-F9BD-3F6ACBEE57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1736"/>
          <a:stretch/>
        </p:blipFill>
        <p:spPr>
          <a:xfrm>
            <a:off x="3816350" y="-117533"/>
            <a:ext cx="5327650" cy="476896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445EFC2-4AC3-2CC8-4DF1-A35801853C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2403"/>
          <a:stretch/>
        </p:blipFill>
        <p:spPr>
          <a:xfrm>
            <a:off x="0" y="0"/>
            <a:ext cx="3437881" cy="47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672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C8E6A2-930C-C1AC-2783-26E83B44EF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2B0647-CE2A-4A51-256E-26CBDAF86D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EE2323-92C0-B4C5-8FD7-D87C4618E7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A87F72-EC20-BA66-0338-0173DFB5C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99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39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61B4E4-C68E-25DE-198F-72DFF2082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654FC-49C9-2EC2-E245-02E53CD896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687976-0E13-A982-73D2-5CD5E8ED51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0AC4F0-1CAB-3F52-6CB6-5E8295034AA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7902"/>
          <a:stretch/>
        </p:blipFill>
        <p:spPr>
          <a:xfrm>
            <a:off x="0" y="0"/>
            <a:ext cx="3574511" cy="47371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514C7C-5C3A-77D6-D671-CFC913105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4511" y="201019"/>
            <a:ext cx="5536212" cy="9216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C91E04A-F42C-E159-0887-175925DA1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4348" y="1717022"/>
            <a:ext cx="4985268" cy="249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9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581D2-576B-2BE5-0A86-D3394B5754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B6950E-4CEF-9F4E-3481-C5B74B7092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CC35B-DF3C-F9B3-E163-A4C62946A4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D5AAB7-E556-5D16-BAD3-B9897A51F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248650" cy="452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5529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110A3-1852-4E0A-191A-E81BA2003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009609-DF26-C3B4-ED84-3ACB5285ED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741155-740C-A43D-9E85-F16FBC8F2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54635-0991-1CEA-57AB-6F63AC01AA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620"/>
          <a:stretch/>
        </p:blipFill>
        <p:spPr>
          <a:xfrm>
            <a:off x="5137150" y="0"/>
            <a:ext cx="4006850" cy="5143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C3AB33-155D-4C2A-C682-8113D3CEFE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89" y="529654"/>
            <a:ext cx="3994240" cy="177024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745CB9-D76B-60C7-D4D2-D0E45A4A19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413" y="2913016"/>
            <a:ext cx="4542387" cy="48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812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84E4B4-9636-7743-CBC8-C66BC512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48C292-5E68-D272-68FC-7D10DE313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 | 19 Novembe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473307-0668-095D-FF02-F66691DE67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A720B5-B5E0-1616-FA95-F5A0FCA07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966575"/>
          </a:xfrm>
          <a:prstGeom prst="rect">
            <a:avLst/>
          </a:prstGeom>
        </p:spPr>
      </p:pic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751D5239-1607-A806-C07C-D12BE0AC185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157871"/>
              </p:ext>
            </p:extLst>
          </p:nvPr>
        </p:nvGraphicFramePr>
        <p:xfrm>
          <a:off x="4572000" y="2168525"/>
          <a:ext cx="1971675" cy="20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971773" imgH="209563" progId="Excel.Sheet.12">
                  <p:embed/>
                </p:oleObj>
              </mc:Choice>
              <mc:Fallback>
                <p:oleObj name="Worksheet" r:id="rId3" imgW="1971773" imgH="20956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72000" y="2168525"/>
                        <a:ext cx="1971675" cy="209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1515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E6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A4F075-B0C2-4B53-8263-668DE8F203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Warehouse Picking Optimization| 19 November 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C8CF8-E3E0-4792-8223-D85DBD3F68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57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DHL_Group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no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  <a:custClr name="Warm Green 100">
      <a:srgbClr val="C4D19A"/>
    </a:custClr>
    <a:custClr name="Cool Green 100">
      <a:srgbClr val="A3D0B8"/>
    </a:custClr>
    <a:custClr name="Light Blue 100">
      <a:srgbClr val="B2DEF3"/>
    </a:custClr>
    <a:custClr name="Light Violet 100">
      <a:srgbClr val="C5D3F0"/>
    </a:custClr>
    <a:custClr name="Dark Violet 100">
      <a:srgbClr val="B7BBCE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Warm Green 40">
      <a:srgbClr val="E7EDD7"/>
    </a:custClr>
    <a:custClr name="Cool Green 40">
      <a:srgbClr val="DAECE3"/>
    </a:custClr>
    <a:custClr name="Light Blue 40">
      <a:srgbClr val="E0F2FA"/>
    </a:custClr>
    <a:custClr name="Light Violet 40">
      <a:srgbClr val="E8EDF9"/>
    </a:custClr>
    <a:custClr name="Dark Violet 40">
      <a:srgbClr val="E2E4EB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Warm Green 20">
      <a:srgbClr val="F3F6EB"/>
    </a:custClr>
    <a:custClr name="Cool Green 20">
      <a:srgbClr val="EDF6F1"/>
    </a:custClr>
    <a:custClr name="Light Blue 20">
      <a:srgbClr val="F0F8FD"/>
    </a:custClr>
    <a:custClr name="Light Violet 20">
      <a:srgbClr val="F3F6FC"/>
    </a:custClr>
    <a:custClr name="Dark Violet 20">
      <a:srgbClr val="F1F1F5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Group_AIP.potx" id="{EDA6ABDC-F3BB-45A6-9899-7679919C4065}" vid="{DB405F54-CA8C-45A0-9347-BBEDD1B1A5E3}"/>
    </a:ext>
  </a:extLst>
</a:theme>
</file>

<file path=ppt/theme/theme2.xml><?xml version="1.0" encoding="utf-8"?>
<a:theme xmlns:a="http://schemas.openxmlformats.org/drawingml/2006/main" name="Office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HL_Group_23-12</Template>
  <TotalTime>958</TotalTime>
  <Words>107</Words>
  <Application>Microsoft Office PowerPoint</Application>
  <PresentationFormat>On-screen Show (16:9)</PresentationFormat>
  <Paragraphs>2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Delivery</vt:lpstr>
      <vt:lpstr>Delivery Cd Black</vt:lpstr>
      <vt:lpstr>Delivery Cd Light</vt:lpstr>
      <vt:lpstr>Symbol</vt:lpstr>
      <vt:lpstr>DHL_Group</vt:lpstr>
      <vt:lpstr>think-cell Folie</vt:lpstr>
      <vt:lpstr>Microsoft Excel Worksheet</vt:lpstr>
      <vt:lpstr>Probability Game Analysis</vt:lpstr>
      <vt:lpstr>The Ball Drawing Game: Strategy and Probab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ahya Adhikari</dc:creator>
  <cp:lastModifiedBy>Yahya Adhikari</cp:lastModifiedBy>
  <cp:revision>14</cp:revision>
  <dcterms:created xsi:type="dcterms:W3CDTF">2024-11-16T19:05:54Z</dcterms:created>
  <dcterms:modified xsi:type="dcterms:W3CDTF">2024-11-19T12:56:53Z</dcterms:modified>
</cp:coreProperties>
</file>